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0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3"/>
  </p:notesMasterIdLst>
  <p:handoutMasterIdLst>
    <p:handoutMasterId r:id="rId104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425" r:id="rId51"/>
    <p:sldId id="320" r:id="rId52"/>
    <p:sldId id="426" r:id="rId53"/>
    <p:sldId id="427" r:id="rId54"/>
    <p:sldId id="323" r:id="rId55"/>
    <p:sldId id="428" r:id="rId56"/>
    <p:sldId id="429" r:id="rId57"/>
    <p:sldId id="324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380" r:id="rId100"/>
    <p:sldId id="392" r:id="rId101"/>
    <p:sldId id="299" r:id="rId102"/>
  </p:sldIdLst>
  <p:sldSz cx="9144000" cy="6858000" type="screen4x3"/>
  <p:notesSz cx="7023100" cy="9309100"/>
  <p:custDataLst>
    <p:tags r:id="rId10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EE3124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636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presProps" Target="pres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notesMaster" Target="notesMasters/notesMaster1.xml"/><Relationship Id="rId108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commentAuthors" Target="commentAuthor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heme" Target="theme/theme1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14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14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5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1.png"/><Relationship Id="rId4" Type="http://schemas.openxmlformats.org/officeDocument/2006/relationships/notesSlide" Target="../notesSlides/notesSlide4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2.png"/><Relationship Id="rId4" Type="http://schemas.openxmlformats.org/officeDocument/2006/relationships/notesSlide" Target="../notesSlides/notesSlide41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4.png"/><Relationship Id="rId4" Type="http://schemas.openxmlformats.org/officeDocument/2006/relationships/notesSlide" Target="../notesSlides/notesSlide46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05.png"/><Relationship Id="rId4" Type="http://schemas.openxmlformats.org/officeDocument/2006/relationships/notesSlide" Target="../notesSlides/notesSlide49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5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08.png"/><Relationship Id="rId4" Type="http://schemas.openxmlformats.org/officeDocument/2006/relationships/notesSlide" Target="../notesSlides/notesSlide5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58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6.jpeg"/><Relationship Id="rId4" Type="http://schemas.openxmlformats.org/officeDocument/2006/relationships/image" Target="../media/image1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213" y="1589611"/>
            <a:ext cx="5695238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595" y="1801126"/>
            <a:ext cx="6661998" cy="6484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40" y="1503376"/>
            <a:ext cx="7678972" cy="11348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340" y="3267134"/>
            <a:ext cx="8046720" cy="2736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88150"/>
            <a:ext cx="8048708" cy="18524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912302"/>
            <a:ext cx="8048708" cy="188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843" y="5127605"/>
            <a:ext cx="7029975" cy="9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1351886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030</TotalTime>
  <Words>3813</Words>
  <Application>Microsoft Office PowerPoint</Application>
  <PresentationFormat>On-screen Show (4:3)</PresentationFormat>
  <Paragraphs>1233</Paragraphs>
  <Slides>96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11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291</cp:revision>
  <cp:lastPrinted>2015-07-29T21:30:37Z</cp:lastPrinted>
  <dcterms:created xsi:type="dcterms:W3CDTF">2017-09-21T08:49:16Z</dcterms:created>
  <dcterms:modified xsi:type="dcterms:W3CDTF">2019-02-14T18:46:3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